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12.xml" ContentType="application/vnd.openxmlformats-officedocument.presentationml.tags+xml"/>
  <Override PartName="/ppt/notesSlides/notesSlide2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7.xml" ContentType="application/vnd.openxmlformats-officedocument.presentationml.notesSlide+xml"/>
  <Override PartName="/ppt/comments/comment3.xml" ContentType="application/vnd.openxmlformats-officedocument.presentationml.comment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8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102"/>
  </p:notesMasterIdLst>
  <p:handoutMasterIdLst>
    <p:handoutMasterId r:id="rId103"/>
  </p:handoutMasterIdLst>
  <p:sldIdLst>
    <p:sldId id="256" r:id="rId7"/>
    <p:sldId id="433" r:id="rId8"/>
    <p:sldId id="373" r:id="rId9"/>
    <p:sldId id="416" r:id="rId10"/>
    <p:sldId id="417" r:id="rId11"/>
    <p:sldId id="418" r:id="rId12"/>
    <p:sldId id="419" r:id="rId13"/>
    <p:sldId id="370" r:id="rId14"/>
    <p:sldId id="369" r:id="rId15"/>
    <p:sldId id="378" r:id="rId16"/>
    <p:sldId id="301" r:id="rId17"/>
    <p:sldId id="302" r:id="rId18"/>
    <p:sldId id="303" r:id="rId19"/>
    <p:sldId id="304" r:id="rId20"/>
    <p:sldId id="305" r:id="rId21"/>
    <p:sldId id="306" r:id="rId22"/>
    <p:sldId id="307" r:id="rId23"/>
    <p:sldId id="308" r:id="rId24"/>
    <p:sldId id="309" r:id="rId25"/>
    <p:sldId id="310" r:id="rId26"/>
    <p:sldId id="311" r:id="rId27"/>
    <p:sldId id="312" r:id="rId28"/>
    <p:sldId id="313" r:id="rId29"/>
    <p:sldId id="314" r:id="rId30"/>
    <p:sldId id="315" r:id="rId31"/>
    <p:sldId id="316" r:id="rId32"/>
    <p:sldId id="399" r:id="rId33"/>
    <p:sldId id="400" r:id="rId34"/>
    <p:sldId id="401" r:id="rId35"/>
    <p:sldId id="402" r:id="rId36"/>
    <p:sldId id="403" r:id="rId37"/>
    <p:sldId id="404" r:id="rId38"/>
    <p:sldId id="405" r:id="rId39"/>
    <p:sldId id="420" r:id="rId40"/>
    <p:sldId id="421" r:id="rId41"/>
    <p:sldId id="424" r:id="rId42"/>
    <p:sldId id="423" r:id="rId43"/>
    <p:sldId id="422" r:id="rId44"/>
    <p:sldId id="374" r:id="rId45"/>
    <p:sldId id="382" r:id="rId46"/>
    <p:sldId id="318" r:id="rId47"/>
    <p:sldId id="425" r:id="rId48"/>
    <p:sldId id="320" r:id="rId49"/>
    <p:sldId id="426" r:id="rId50"/>
    <p:sldId id="427" r:id="rId51"/>
    <p:sldId id="323" r:id="rId52"/>
    <p:sldId id="428" r:id="rId53"/>
    <p:sldId id="429" r:id="rId54"/>
    <p:sldId id="324" r:id="rId55"/>
    <p:sldId id="430" r:id="rId56"/>
    <p:sldId id="432" r:id="rId57"/>
    <p:sldId id="431" r:id="rId58"/>
    <p:sldId id="325" r:id="rId59"/>
    <p:sldId id="327" r:id="rId60"/>
    <p:sldId id="328" r:id="rId61"/>
    <p:sldId id="394" r:id="rId62"/>
    <p:sldId id="329" r:id="rId63"/>
    <p:sldId id="368" r:id="rId64"/>
    <p:sldId id="408" r:id="rId65"/>
    <p:sldId id="409" r:id="rId66"/>
    <p:sldId id="410" r:id="rId67"/>
    <p:sldId id="411" r:id="rId68"/>
    <p:sldId id="412" r:id="rId69"/>
    <p:sldId id="413" r:id="rId70"/>
    <p:sldId id="414" r:id="rId71"/>
    <p:sldId id="395" r:id="rId72"/>
    <p:sldId id="396" r:id="rId73"/>
    <p:sldId id="375" r:id="rId74"/>
    <p:sldId id="398" r:id="rId75"/>
    <p:sldId id="397" r:id="rId76"/>
    <p:sldId id="359" r:id="rId77"/>
    <p:sldId id="360" r:id="rId78"/>
    <p:sldId id="376" r:id="rId79"/>
    <p:sldId id="343" r:id="rId80"/>
    <p:sldId id="344" r:id="rId81"/>
    <p:sldId id="345" r:id="rId82"/>
    <p:sldId id="361" r:id="rId83"/>
    <p:sldId id="347" r:id="rId84"/>
    <p:sldId id="348" r:id="rId85"/>
    <p:sldId id="362" r:id="rId86"/>
    <p:sldId id="352" r:id="rId87"/>
    <p:sldId id="353" r:id="rId88"/>
    <p:sldId id="354" r:id="rId89"/>
    <p:sldId id="363" r:id="rId90"/>
    <p:sldId id="364" r:id="rId91"/>
    <p:sldId id="377" r:id="rId92"/>
    <p:sldId id="350" r:id="rId93"/>
    <p:sldId id="355" r:id="rId94"/>
    <p:sldId id="349" r:id="rId95"/>
    <p:sldId id="357" r:id="rId96"/>
    <p:sldId id="358" r:id="rId97"/>
    <p:sldId id="406" r:id="rId98"/>
    <p:sldId id="407" r:id="rId99"/>
    <p:sldId id="392" r:id="rId100"/>
    <p:sldId id="299" r:id="rId101"/>
  </p:sldIdLst>
  <p:sldSz cx="9144000" cy="6858000" type="screen4x3"/>
  <p:notesSz cx="7023100" cy="9309100"/>
  <p:custDataLst>
    <p:tags r:id="rId104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79" d="100"/>
          <a:sy n="79" d="100"/>
        </p:scale>
        <p:origin x="108" y="858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slide" Target="slides/slide78.xml"/><Relationship Id="rId89" Type="http://schemas.openxmlformats.org/officeDocument/2006/relationships/slide" Target="slides/slide83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07" Type="http://schemas.openxmlformats.org/officeDocument/2006/relationships/viewProps" Target="viewProps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87" Type="http://schemas.openxmlformats.org/officeDocument/2006/relationships/slide" Target="slides/slide81.xml"/><Relationship Id="rId102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90" Type="http://schemas.openxmlformats.org/officeDocument/2006/relationships/slide" Target="slides/slide84.xml"/><Relationship Id="rId95" Type="http://schemas.openxmlformats.org/officeDocument/2006/relationships/slide" Target="slides/slide89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100" Type="http://schemas.openxmlformats.org/officeDocument/2006/relationships/slide" Target="slides/slide94.xml"/><Relationship Id="rId105" Type="http://schemas.openxmlformats.org/officeDocument/2006/relationships/commentAuthors" Target="commentAuthor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93" Type="http://schemas.openxmlformats.org/officeDocument/2006/relationships/slide" Target="slides/slide87.xml"/><Relationship Id="rId98" Type="http://schemas.openxmlformats.org/officeDocument/2006/relationships/slide" Target="slides/slide9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103" Type="http://schemas.openxmlformats.org/officeDocument/2006/relationships/handoutMaster" Target="handoutMasters/handoutMaster1.xml"/><Relationship Id="rId108" Type="http://schemas.openxmlformats.org/officeDocument/2006/relationships/theme" Target="theme/theme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slide" Target="slides/slide77.xml"/><Relationship Id="rId88" Type="http://schemas.openxmlformats.org/officeDocument/2006/relationships/slide" Target="slides/slide82.xml"/><Relationship Id="rId91" Type="http://schemas.openxmlformats.org/officeDocument/2006/relationships/slide" Target="slides/slide85.xml"/><Relationship Id="rId96" Type="http://schemas.openxmlformats.org/officeDocument/2006/relationships/slide" Target="slides/slide9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6" Type="http://schemas.openxmlformats.org/officeDocument/2006/relationships/presProps" Target="presProps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94" Type="http://schemas.openxmlformats.org/officeDocument/2006/relationships/slide" Target="slides/slide88.xml"/><Relationship Id="rId99" Type="http://schemas.openxmlformats.org/officeDocument/2006/relationships/slide" Target="slides/slide93.xml"/><Relationship Id="rId101" Type="http://schemas.openxmlformats.org/officeDocument/2006/relationships/slide" Target="slides/slide9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109" Type="http://schemas.openxmlformats.org/officeDocument/2006/relationships/tableStyles" Target="tableStyles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97" Type="http://schemas.openxmlformats.org/officeDocument/2006/relationships/slide" Target="slides/slide91.xml"/><Relationship Id="rId104" Type="http://schemas.openxmlformats.org/officeDocument/2006/relationships/tags" Target="tags/tag1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slide" Target="slides/slide86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  <p:cm authorId="2" dt="2019-02-07T09:36:40.646" idx="33">
    <p:pos x="5441" y="635"/>
    <p:text>Done its ok</p:text>
    <p:extLst>
      <p:ext uri="{C676402C-5697-4E1C-873F-D02D1690AC5C}">
        <p15:threadingInfo xmlns:p15="http://schemas.microsoft.com/office/powerpoint/2012/main" timeZoneBias="-60">
          <p15:parentCm authorId="2" idx="18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2T14:48:25.778" idx="1">
    <p:pos x="10" y="10"/>
    <p:text>Test change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4T19:35:07.279" idx="2">
    <p:pos x="10" y="10"/>
    <p:text>Put a slide about RSA differnt types based on differen trajectory propertie - short one slide</p:text>
    <p:extLst>
      <p:ext uri="{C676402C-5697-4E1C-873F-D02D1690AC5C}">
        <p15:threadingInfo xmlns:p15="http://schemas.microsoft.com/office/powerpoint/2012/main" timeZoneBias="-60"/>
      </p:ext>
    </p:extLst>
  </p:cm>
  <p:cm authorId="3" dt="2019-02-14T19:35:53.134" idx="3">
    <p:pos x="10" y="106"/>
    <p:text>Consider removing the graph stuff</p:text>
    <p:extLst>
      <p:ext uri="{C676402C-5697-4E1C-873F-D02D1690AC5C}">
        <p15:threadingInfo xmlns:p15="http://schemas.microsoft.com/office/powerpoint/2012/main" timeZoneBias="-60">
          <p15:parentCm authorId="3" idx="2"/>
        </p15:threadingInfo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  <p:cm authorId="2" dt="2019-02-06T11:46:46.688" idx="32">
    <p:pos x="4032" y="761"/>
    <p:text>DONE</p:text>
    <p:extLst>
      <p:ext uri="{C676402C-5697-4E1C-873F-D02D1690AC5C}">
        <p15:threadingInfo xmlns:p15="http://schemas.microsoft.com/office/powerpoint/2012/main" timeZoneBias="-60">
          <p15:parentCm authorId="2" idx="20"/>
        </p15:threadingInfo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8-Feb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8-Feb-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94078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jpeg"/><Relationship Id="rId4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9.jp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70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73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80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comments" Target="../comments/comment4.xml"/><Relationship Id="rId4" Type="http://schemas.openxmlformats.org/officeDocument/2006/relationships/image" Target="../media/image8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38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7.png"/><Relationship Id="rId4" Type="http://schemas.openxmlformats.org/officeDocument/2006/relationships/notesSlide" Target="../notesSlides/notesSlide39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9.png"/><Relationship Id="rId4" Type="http://schemas.openxmlformats.org/officeDocument/2006/relationships/notesSlide" Target="../notesSlides/notesSlide44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10.png"/><Relationship Id="rId4" Type="http://schemas.openxmlformats.org/officeDocument/2006/relationships/notesSlide" Target="../notesSlides/notesSlide47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11.png"/><Relationship Id="rId4" Type="http://schemas.openxmlformats.org/officeDocument/2006/relationships/notesSlide" Target="../notesSlides/notesSlide50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13.png"/><Relationship Id="rId4" Type="http://schemas.openxmlformats.org/officeDocument/2006/relationships/notesSlide" Target="../notesSlides/notesSlide54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14.png"/><Relationship Id="rId4" Type="http://schemas.openxmlformats.org/officeDocument/2006/relationships/notesSlide" Target="../notesSlides/notesSlide56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image" Target="../media/image11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1.jpeg"/><Relationship Id="rId4" Type="http://schemas.openxmlformats.org/officeDocument/2006/relationships/image" Target="../media/image1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octoral Thesis in Applied Mathematics </a:t>
            </a:r>
            <a:br>
              <a:rPr lang="en-US" dirty="0"/>
            </a:br>
            <a:r>
              <a:rPr lang="en-US" dirty="0"/>
              <a:t>	</a:t>
            </a:r>
            <a:r>
              <a:rPr lang="en-US"/>
              <a:t>Defense Presenta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March 2019</a:t>
            </a:r>
          </a:p>
          <a:p>
            <a:r>
              <a:rPr lang="en-US" dirty="0"/>
              <a:t>Port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1497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6588BC-4944-4B47-AE23-F05B6CE4E1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D31553-C5DB-4BB8-B191-D51EDED36E6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Sense &amp; Avoid introduction:</a:t>
            </a:r>
          </a:p>
          <a:p>
            <a:r>
              <a:rPr lang="en-US" dirty="0"/>
              <a:t>Context of SAA</a:t>
            </a:r>
          </a:p>
          <a:p>
            <a:r>
              <a:rPr lang="en-US" dirty="0"/>
              <a:t>Actors</a:t>
            </a:r>
          </a:p>
          <a:p>
            <a:r>
              <a:rPr lang="en-US" dirty="0"/>
              <a:t>Reactive Obstacle Avoidanc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Problems in Detect &amp; Avoid:</a:t>
            </a:r>
          </a:p>
          <a:p>
            <a:r>
              <a:rPr lang="en-US" dirty="0"/>
              <a:t>How to get into fine restaurant</a:t>
            </a:r>
          </a:p>
          <a:p>
            <a:r>
              <a:rPr lang="en-US" dirty="0"/>
              <a:t>Incremental problem definition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Related work:</a:t>
            </a:r>
          </a:p>
          <a:p>
            <a:r>
              <a:rPr lang="en-US" dirty="0"/>
              <a:t>Movement Automaton</a:t>
            </a:r>
          </a:p>
          <a:p>
            <a:r>
              <a:rPr lang="en-US" dirty="0"/>
              <a:t>Surveillance</a:t>
            </a:r>
          </a:p>
          <a:p>
            <a:r>
              <a:rPr lang="en-US" dirty="0"/>
              <a:t>Navigation</a:t>
            </a:r>
          </a:p>
          <a:p>
            <a:r>
              <a:rPr lang="en-US" dirty="0"/>
              <a:t>Reach set estim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0CF532-BA97-4124-A199-38EA2732F7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Proposed framework:</a:t>
            </a:r>
          </a:p>
          <a:p>
            <a:r>
              <a:rPr lang="en-US" dirty="0"/>
              <a:t>Overview</a:t>
            </a:r>
          </a:p>
          <a:p>
            <a:r>
              <a:rPr lang="en-US" dirty="0"/>
              <a:t>Avoidance Run </a:t>
            </a:r>
          </a:p>
          <a:p>
            <a:r>
              <a:rPr lang="en-US" dirty="0"/>
              <a:t>UTM Implementation</a:t>
            </a:r>
          </a:p>
          <a:p>
            <a:r>
              <a:rPr lang="en-US" dirty="0"/>
              <a:t>Rule Engin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Simulations:</a:t>
            </a:r>
          </a:p>
          <a:p>
            <a:r>
              <a:rPr lang="en-US" dirty="0"/>
              <a:t>Test Plan</a:t>
            </a:r>
          </a:p>
          <a:p>
            <a:r>
              <a:rPr lang="en-US" dirty="0"/>
              <a:t>Obstacle avoidance</a:t>
            </a:r>
          </a:p>
          <a:p>
            <a:r>
              <a:rPr lang="en-US" dirty="0"/>
              <a:t>Weather avoidance</a:t>
            </a:r>
          </a:p>
          <a:p>
            <a:r>
              <a:rPr lang="en-US" dirty="0"/>
              <a:t>Rules of the Air</a:t>
            </a:r>
          </a:p>
          <a:p>
            <a:r>
              <a:rPr lang="en-US" dirty="0"/>
              <a:t>Cooperative vs. Noncooperativ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 err="1"/>
              <a:t>Colclusion</a:t>
            </a:r>
            <a:endParaRPr lang="en-US" i="1" u="sng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AFAD75-594A-4EAA-8F0B-C26E5CD4B22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B570C130-3947-5746-9F16-5E7E49C44C45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744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7E2D92-9DEC-404B-A8C4-F1E79F0909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122476" y="1741980"/>
            <a:ext cx="8899047" cy="556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77B3929-7EB3-4FD7-9F53-126780D72CA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76890" y="2701137"/>
            <a:ext cx="8313904" cy="333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693D87-6F07-4264-B3A7-C63AFC0B535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58367" y="1633860"/>
            <a:ext cx="8394666" cy="10361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462551-B07F-4EF8-8589-29DC77AE479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47238" y="3210171"/>
            <a:ext cx="8449523" cy="63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1] Basic Avoid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∀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lasificait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nct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consisting from Free, Occupied, Unknown se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Mission</a:t>
                </a:r>
                <a:r>
                  <a:rPr lang="en-US" dirty="0"/>
                  <a:t> - Assumptions 1-5 are valid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LiDAR sensor is introduced as source of informa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 </a:t>
                </a:r>
                <a:r>
                  <a:rPr lang="en-US" dirty="0"/>
                  <a:t>- classification function implementation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Flight constraints</a:t>
                </a:r>
                <a:r>
                  <a:rPr lang="en-US" i="1" dirty="0"/>
                  <a:t> </a:t>
                </a:r>
                <a:r>
                  <a:rPr lang="en-US" dirty="0"/>
                  <a:t>- UAS dynamic only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</a:p>
              <a:p>
                <a:r>
                  <a:rPr lang="en-US" dirty="0"/>
                  <a:t>Navigation Loop Implementation (sec. 6.6.2).</a:t>
                </a:r>
              </a:p>
              <a:p>
                <a:r>
                  <a:rPr lang="en-US" dirty="0"/>
                  <a:t>Avoidance Loop Implementation (sec. 6.6.1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b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0040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2] Intruders Introd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ADS-B added enabling intruder detec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</a:t>
                </a:r>
                <a:r>
                  <a:rPr lang="en-US" dirty="0"/>
                  <a:t> - union of obstacle space and individual intruder space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intruder corridors, changing over time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  <a:endParaRPr lang="en-US" dirty="0"/>
              </a:p>
              <a:p>
                <a:r>
                  <a:rPr lang="en-US" dirty="0"/>
                  <a:t>Intruder Intersection Models (minimal operation requirements achieved): Linear Intersection Model (app. C.1), Body-volume intersection (app. C.2), Maneuverability uncertainty intersection (app. C.3).</a:t>
                </a:r>
              </a:p>
              <a:p>
                <a:r>
                  <a:rPr lang="en-US" dirty="0"/>
                  <a:t>Flight Corridors 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b="-49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3] Stat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ata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s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added restricted space portion evolving over tim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added </a:t>
                </a:r>
                <a:r>
                  <a:rPr lang="en-US" i="1" dirty="0"/>
                  <a:t>Obstacle Map </a:t>
                </a:r>
                <a:r>
                  <a:rPr lang="en-US" dirty="0"/>
                  <a:t>(fig. 6.13), </a:t>
                </a:r>
                <a:r>
                  <a:rPr lang="en-US" i="1" dirty="0"/>
                  <a:t>Visibility Rating Concept</a:t>
                </a:r>
                <a:r>
                  <a:rPr lang="en-US" dirty="0"/>
                  <a:t> (fig. 6.12) and </a:t>
                </a:r>
                <a:r>
                  <a:rPr lang="en-US" i="1" dirty="0"/>
                  <a:t>Static Constraints </a:t>
                </a:r>
                <a:r>
                  <a:rPr lang="en-US" dirty="0"/>
                  <a:t>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ata fusion </a:t>
                </a:r>
                <a:r>
                  <a:rPr lang="en-US" dirty="0"/>
                  <a:t>- the rating implementation of the data fusion (sec. 6.5.4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i="1" dirty="0"/>
                  <a:t> </a:t>
                </a:r>
                <a:r>
                  <a:rPr lang="en-US" dirty="0"/>
                  <a:t>- added obstacles and terrain constrain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added airspace restrictions and geo-fencing/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909" b="-3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4] Dynam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𝑑𝑎𝑡𝑎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the weather adding </a:t>
                </a:r>
                <a:r>
                  <a:rPr lang="en-US" i="1" dirty="0"/>
                  <a:t>moving constraints  </a:t>
                </a:r>
                <a:r>
                  <a:rPr lang="en-US" dirty="0"/>
                  <a:t>(def. 20) example </a:t>
                </a:r>
                <a:r>
                  <a:rPr lang="en-US" i="1" dirty="0"/>
                  <a:t>Weather Avoidance Case</a:t>
                </a:r>
                <a:r>
                  <a:rPr lang="en-US" dirty="0"/>
                  <a:t> (app. E.1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protection zones against severe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protection zones against mild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sk-SK" dirty="0"/>
              <a:t>	</a:t>
            </a:r>
            <a:r>
              <a:rPr lang="en-US" dirty="0"/>
              <a:t>[P5] Rules of the ai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𝑑𝑎𝑡𝑎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𝐹𝑙𝑖𝑔h𝑡𝐶𝑜𝑛𝑠𝑡𝑟𝑎𝑡𝑖𝑛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spac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ul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f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h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flight constraints</a:t>
                </a:r>
                <a:r>
                  <a:rPr lang="en-US" dirty="0"/>
                  <a:t> - different behavior in </a:t>
                </a:r>
                <a:r>
                  <a:rPr lang="en-US" i="1" dirty="0"/>
                  <a:t>airspace classes</a:t>
                </a:r>
                <a:r>
                  <a:rPr lang="en-US" dirty="0"/>
                  <a:t> added, </a:t>
                </a:r>
                <a:r>
                  <a:rPr lang="en-US" i="1" dirty="0"/>
                  <a:t>rules of the air</a:t>
                </a:r>
                <a:r>
                  <a:rPr lang="en-US" dirty="0"/>
                  <a:t> implementation added, introduction in </a:t>
                </a:r>
                <a:r>
                  <a:rPr lang="en-US" i="1" dirty="0"/>
                  <a:t>UTM Implementation</a:t>
                </a:r>
                <a:r>
                  <a:rPr lang="en-US" dirty="0"/>
                  <a:t> (sec. 6.7), </a:t>
                </a:r>
                <a:r>
                  <a:rPr lang="en-US" i="1" dirty="0"/>
                  <a:t>Rule Engine for UAS </a:t>
                </a:r>
                <a:r>
                  <a:rPr lang="en-US" dirty="0"/>
                  <a:t>(sec. 6.8.1) and </a:t>
                </a:r>
                <a:r>
                  <a:rPr lang="en-US" i="1" dirty="0"/>
                  <a:t>Rule Implementation </a:t>
                </a:r>
                <a:r>
                  <a:rPr lang="en-US" dirty="0"/>
                  <a:t>(sec. 6.8.2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3201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1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</a:t>
            </a:r>
            <a:r>
              <a:rPr lang="en-US" sz="1600" dirty="0" err="1"/>
              <a:t>backstepping</a:t>
            </a:r>
            <a:r>
              <a:rPr lang="en-US" sz="1600" dirty="0"/>
              <a:t> algorithm. In American Control Conference, 2000. Proceedings of the 2000, volume 6, pages 4102{4107. IEEE, 2000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76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Gardi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</a:t>
            </a:r>
            <a:r>
              <a:rPr lang="en-US" sz="1600" dirty="0" err="1"/>
              <a:t>Bondarev</a:t>
            </a:r>
            <a:r>
              <a:rPr lang="en-US" sz="1600" dirty="0"/>
              <a:t>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294" y="357810"/>
            <a:ext cx="2644643" cy="23411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77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Gardi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38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</a:t>
            </a:r>
            <a:r>
              <a:rPr lang="en-US" sz="1600" dirty="0" err="1"/>
              <a:t>LaValle</a:t>
            </a:r>
            <a:r>
              <a:rPr lang="en-US" sz="1600" dirty="0"/>
              <a:t>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</a:t>
            </a:r>
            <a:r>
              <a:rPr lang="en-US" sz="1600" dirty="0" err="1"/>
              <a:t>Lindemann</a:t>
            </a:r>
            <a:r>
              <a:rPr lang="en-US" sz="1600" dirty="0"/>
              <a:t>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651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6423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posed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view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M Implement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ule Eng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5B2ED7-4D7F-4CF2-AC3E-58B64C09D59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983428" y="1498706"/>
            <a:ext cx="7177143" cy="325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B90880-D061-4319-86B2-89A2FA20648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453207" y="1745927"/>
            <a:ext cx="8184381" cy="75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BACFFC-5CC6-478D-B961-94C7A56E772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285224" y="1682348"/>
            <a:ext cx="8540952" cy="7588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AF070D-947B-435E-9685-96DB5C0AC43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18451" y="3323152"/>
            <a:ext cx="8304762" cy="305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D3D516-004B-4E58-A3F5-B41CBB0612D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99048" y="1566988"/>
            <a:ext cx="8345904" cy="19718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DFBAA8-D03B-4A1B-90FF-6435EBAD5AE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30557" y="4122445"/>
            <a:ext cx="8850285" cy="21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401A0E1-B46D-4FF8-8F8A-A8383928518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18096" y="5160762"/>
            <a:ext cx="8825904" cy="1339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27" name="Obrázok 3">
            <a:extLst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8" name="Obrázok 3">
            <a:extLst/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>
            <a:extLst/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>
            <a:extLst/>
          </p:cNvPr>
          <p:cNvPicPr>
            <a:picLocks noGrp="1" noChangeAspect="1"/>
          </p:cNvPicPr>
          <p:nvPr>
            <p:ph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>
            <a:extLst/>
          </p:cNvPr>
          <p:cNvPicPr>
            <a:picLocks noGrp="1" noChangeAspect="1"/>
          </p:cNvPicPr>
          <p:nvPr>
            <p:ph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C2B5F-5680-471B-A1C8-2C7D5A881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52" y="342044"/>
            <a:ext cx="7680960" cy="498610"/>
          </a:xfrm>
        </p:spPr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Follow the structure of the last chapte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153EAD-955A-4923-96D5-759D4F2BF2E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DF69AC-0404-4407-82DD-0AFCF33CEE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8FA7E54-39DC-4B43-80AD-162465F1097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67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9.9362"/>
  <p:tag name="ORIGINALWIDTH" val="4131.23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5}&#10; \begin{equation}\label{eq:missionAbstractSet}&#10;        Mission = \left\{&#10;        \begin{aligned}&#10;            &amp;waypoint_1, waypoint_2, \dots,waypoint_m:\\&#10;            &amp;\forall_{i=1\dots m} waypoint_i \in  Space&#10;        \end{aligned}&#10;        \right\}, \quad m\in\N^{+},m\ge2&#10;    \end{equation}&#10;&#10;&#10;&#10;\end{document}"/>
  <p:tag name="IGUANATEXSIZE" val="20"/>
  <p:tag name="IGUANATEXCURSOR" val="3773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0.4612"/>
  <p:tag name="ORIGINALWIDTH" val="4158.2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20}&#10; \begin{multline}\label{eq:safetyMarginAbstract}&#10;        \forall t\in [missionStart,missionEnd]:\\distance(x(t),Occupied(t),t) \ge safetyMargin&#10;    \end{multline}&#10;&#10;&#10;&#10;\end{document}"/>
  <p:tag name="IGUANATEXSIZE" val="20"/>
  <p:tag name="IGUANATEXCURSOR" val="3645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.3"/>
  <p:tag name="ORIGINALWIDTH" val="3532.05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0}&#10; \begin{equation}\label{eq:simple3dStatevector}&#10;  state = \left [ x,y,z, roll, pitch, yaw \right]^T&#10; \end{equation}&#10; &#10; \setcounter{chapter}{6}&#10; \setcounter{equation}{1}&#10; \begin{equation}\label{eq:simple3dInputVector}&#10;  input = \left [ v, \omega_{roll}, \omega_{pitch},\omega_{yaw}\right ]^T&#10; \end{equation}&#10; &#10; \setcounter{chapter}{6}&#10; \setcounter{equation}{3}&#10; \begin{equation}\label{eq:UASNonlinearModelSimple}&#10;  \begin{aligned}&#10;   \frac{\text{d} x}{\text{d} time} &amp;= v\cos(pitch)\cos(yaw);\\&#10;   \frac{\text{d} y}{\text{d} time} &amp;= v\cos(pitch)\sin(yaw);\\&#10;   \frac{\text{d} z}{\text{d} time} &amp;= -v\sin(pitch);\\&#10;  \end{aligned}\\\quad\quad&#10;  \begin{aligned}&#10;   \frac{\text{d} roll}{\text{d} time} &amp;= \omega_{roll};\\&#10;   \frac{\text{d} pitch}{\text{d} time} &amp;= \omega_{pitch};\\&#10;   \frac{\text{d} yaw}{\text{d} time} &amp;= \omega_{yaw};\\&#10;  \end{aligned}&#10; \end{equation}&#10;&#10;&#10;&#10;\end{document}"/>
  <p:tag name="IGUANATEXSIZE" val="20"/>
  <p:tag name="IGUANATEXCURSOR" val="435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027.74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0}&#10; \begin{equation}\label{eq:OurMovementSet}&#10;        Movement Set= \left\{&#10;        \begin{gathered}&#10;            Straight, Left,Right, Up, Down,\\&#10;            Down Left, Down Right,  Up Left,   Up Right&#10;        \end{gathered}&#10;        \right\}&#10;    \end{equation}&#10;&#10;&#10;&#10;\end{document}"/>
  <p:tag name="IGUANATEXSIZE" val="20"/>
  <p:tag name="IGUANATEXCURSOR" val="374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203.225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1}&#10; \begin{equation}\label{eq:ourBuffer}&#10;  Buffer = \left\{&#10;     movement(j):&#10;     \begin{aligned}&#10;      &amp;movement(j)\in Movement Set (eq. 6.11),\\&#10;      &amp; j \in 1\dots n, n \in N^+&#10;     \end{aligned}&#10;    \right\}&#10; \end{equation}&#10;&#10;&#10;&#10;\end{document}"/>
  <p:tag name="IGUANATEXSIZE" val="20"/>
  <p:tag name="IGUANATEXCURSOR" val="3709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2.812"/>
  <p:tag name="ORIGINALWIDTH" val="4086.98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2} &#10; \begin{equation}\label{eq:ourTrajectoryEvolution}&#10;  \begin{aligned}&#10;  T&amp;rajectory(state(0),Buffer)=\\&#10;   &amp;\left\{&#10;   \begin{aligned}&#10;    state(0) &amp;= state(0),\\&#10;    state(1) &amp;= apply Movement\left(state(0), movement(1)\right),  \\&#10;    state(2) &amp;= apply Movement\left(state(1), movement(2)\right),  \\&#10;     \vdots  &amp;= \vdots\\&#10;    state(n-1) &amp;= apply Movement\left(state(n-2), movement(n-1)\right),  \\&#10;    state(n)   &amp;= apply Movement\left(state(n-1), movement(n)\right)  \\&#10;   \end{aligned}&#10;   \right\}&#10;  \end{aligned}&#10; \end{equation}&#10;&#10;&#10;&#10;\end{document}"/>
  <p:tag name="IGUANATEXSIZE" val="20"/>
  <p:tag name="IGUANATEXCURSOR" val="402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0.3787"/>
  <p:tag name="ORIGINALWIDTH" val="4107.23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9}&#10; \begin{equation}\label{eq:avoidanceGridCellSpace}&#10;    Avoidance Grid = \left\{&#10;         cell_{i,j,k}:&#10;         \begin{aligned}&#10;          &amp; i \in 1 \dots layer Count\\&#10;          &amp; j \in 1 \dots horizontal Count\\&#10;          &amp; k \in 1 \dots vertical Count&#10;         \end{aligned} &#10;                     \right\}&#10; \end{equation}&#10; &#10; \setcounter{chapter}{6}&#10; \setcounter{equation}{20}&#10; \begin{equation}&#10;  \forall cell_{i,j,k}, cell_{m,n,o}:&#10;  \begin{aligned}&#10;      &amp;cell_{i,j,k}\cap cell_{m,n,o} = \varnothing,&#10;      i \neq o \lor j \neq n \lor k \neq o&#10;  \end{aligned}&#10; \end{equation}&#10;&#10;&#10;&#10;\end{document}"/>
  <p:tag name="IGUANATEXSIZE" val="20"/>
  <p:tag name="IGUANATEXCURSOR" val="406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3.618"/>
  <p:tag name="ORIGINALWIDTH" val="4355.45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4}&#10; \begin{multline}\label{eq:boundedSpaceCell}&#10;        cell.space Portion = \dots\\&#10;            \left \{&#10;                \begin{aligned}&#10;                point&amp; \in \R^3 \text{ where}:\\&#10;                    &amp;\left(\begin{aligned}&#10;                        cell.distance_{start} &amp;&lt;&amp; point.distance &amp;\le&amp; cell.distance_{end},\\&#10;                        cell.horizontal^\circ_{start} &amp;&lt;&amp; point.horizontal^\circ &amp;\le&amp;  cell.horizontal^\circ_{end},\\&#10;                        cell.vertical^\circ_{start} &amp;&lt;&amp; point.vertical^\circ &amp;\le&amp; cell.vertical^\circ_{end}\\&#10;                    \end{aligned}\right)&#10;                \end{aligned}&#10;            \right\}&#10;    \end{multline}&#10;&#10;&#10;&#10;\end{document}"/>
  <p:tag name="IGUANATEXSIZE" val="20"/>
  <p:tag name="IGUANATEXCURSOR" val="4144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9.1675"/>
  <p:tag name="ORIGINALWIDTH" val="4343.457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22}&#10; \begin{equation}\label{eq:ReachSetDefinitionDiscrete}&#10;             ReachSet(\tau,time_0,state_0)=\left\{Trajectory(state_0,buffer):&#10;             \begin{gathered}&#10;                \text{duration}(buffer)\\ \le\\ (time_0-\tau)&#10;             \end{gathered}\right\}&#10;        \end{equation}&#10;   &#10;&#10;&#10;&#10;\end{document}"/>
  <p:tag name="IGUANATEXSIZE" val="20"/>
  <p:tag name="IGUANATEXCURSOR" val="377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3.7158"/>
  <p:tag name="ORIGINALWIDTH" val="4379.453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9}&#10;\begin{equation}\label{eq:spaceCassificationFunction}&#10;        SpaceClassification: y \in \emph{Space} \mapsto s \in \{Free, Restricted, Occupied, Uncertain \}&#10;    \end{equation}&#10;&#10;&#10;&#10;\end{document}"/>
  <p:tag name="IGUANATEXSIZE" val="20"/>
  <p:tag name="IGUANATEXCURSOR" val="3635"/>
  <p:tag name="TRANSPARENCY" val="True"/>
  <p:tag name="FILENAME" val=""/>
  <p:tag name="LATEXENGINEID" val="0"/>
  <p:tag name="TEMPFOLDER" val="D:\Latex\"/>
  <p:tag name="LATEXFORMHEIGHT" val="312"/>
  <p:tag name="LATEXFORMWIDTH" val="384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3.045"/>
  <p:tag name="ORIGINALWIDTH" val="4091.489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18}&#10; \begin{equation}\label{eq:DataFusionFunction}&#10;        DataFusion:&#10;        \left[&#10;        \begin{aligned}&#10;            &amp;InformationSource_1 \times\\&#10;            &amp;InformationSource_2 \times\\&#10;            &amp;\times\dots\times\\&#10;            &amp;InformationSource_l \times\\&#10;            &amp;SensorFusion(\dots)\times\\&#10;            &amp;Weather(\dots)\\&#10;            &amp;position\times\\&#10;            &amp;\textit{fixed time }t_{fix}\times\\&#10;            &amp;dataFusionParameters&#10;        \end{aligned}&#10;        \right]&#10;        \to &#10;        \begin{cases}&#10;            Free(t_{fix})\\&#10;            Occupied(t_{fix})\\&#10;            Restricted(t_{fix})\\&#10;            Uncertain(t_{fix})&#10;        \end{cases}&#10;    \end{equation}&#10;&#10;&#10;&#10;\end{document}"/>
  <p:tag name="IGUANATEXSIZE" val="20"/>
  <p:tag name="IGUANATEXCURSOR" val="4056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233</TotalTime>
  <Words>4019</Words>
  <Application>Microsoft Office PowerPoint</Application>
  <PresentationFormat>On-screen Show (4:3)</PresentationFormat>
  <Paragraphs>1238</Paragraphs>
  <Slides>95</Slides>
  <Notes>57</Notes>
  <HiddenSlides>0</HiddenSlides>
  <MMClips>7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5</vt:i4>
      </vt:variant>
    </vt:vector>
  </HeadingPairs>
  <TitlesOfParts>
    <vt:vector size="111" baseType="lpstr">
      <vt:lpstr>Arial</vt:lpstr>
      <vt:lpstr>Arial monospaced for SAP</vt:lpstr>
      <vt:lpstr>Calibri</vt:lpstr>
      <vt:lpstr>Cambria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 [P1] Basic Avoidance</vt:lpstr>
      <vt:lpstr>Incremental problem definition:  [P2] Intruders Introduction</vt:lpstr>
      <vt:lpstr>Incremental problem definition:  [P3] Static restrictions</vt:lpstr>
      <vt:lpstr>Incremental problem definition:  [P4] Dynamic restrictions</vt:lpstr>
      <vt:lpstr>Incremental problem definition: 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Follow the structure of the last chapter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319</cp:revision>
  <cp:lastPrinted>2015-07-29T21:30:37Z</cp:lastPrinted>
  <dcterms:created xsi:type="dcterms:W3CDTF">2017-09-21T08:49:16Z</dcterms:created>
  <dcterms:modified xsi:type="dcterms:W3CDTF">2019-02-28T13:58:01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